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6" r:id="rId3"/>
    <p:sldMasterId id="2147483720" r:id="rId4"/>
    <p:sldMasterId id="2147483808" r:id="rId5"/>
    <p:sldMasterId id="2147483820" r:id="rId6"/>
    <p:sldMasterId id="2147483832" r:id="rId7"/>
    <p:sldMasterId id="2147483847" r:id="rId8"/>
  </p:sldMasterIdLst>
  <p:notesMasterIdLst>
    <p:notesMasterId r:id="rId26"/>
  </p:notesMasterIdLst>
  <p:handoutMasterIdLst>
    <p:handoutMasterId r:id="rId27"/>
  </p:handoutMasterIdLst>
  <p:sldIdLst>
    <p:sldId id="292" r:id="rId9"/>
    <p:sldId id="311" r:id="rId10"/>
    <p:sldId id="823" r:id="rId11"/>
    <p:sldId id="394" r:id="rId12"/>
    <p:sldId id="824" r:id="rId13"/>
    <p:sldId id="825" r:id="rId14"/>
    <p:sldId id="396" r:id="rId15"/>
    <p:sldId id="743" r:id="rId16"/>
    <p:sldId id="757" r:id="rId17"/>
    <p:sldId id="714" r:id="rId18"/>
    <p:sldId id="821" r:id="rId19"/>
    <p:sldId id="315" r:id="rId20"/>
    <p:sldId id="309" r:id="rId21"/>
    <p:sldId id="826" r:id="rId22"/>
    <p:sldId id="271" r:id="rId23"/>
    <p:sldId id="701" r:id="rId24"/>
    <p:sldId id="822" r:id="rId25"/>
  </p:sldIdLst>
  <p:sldSz cx="12192000" cy="6858000"/>
  <p:notesSz cx="6769100" cy="9906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E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94660"/>
  </p:normalViewPr>
  <p:slideViewPr>
    <p:cSldViewPr snapToGrid="0">
      <p:cViewPr>
        <p:scale>
          <a:sx n="75" d="100"/>
          <a:sy n="75" d="100"/>
        </p:scale>
        <p:origin x="28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34257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DFC195-5CE7-4D2B-A177-680EA356D18C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10327-25BA-4FD1-9326-ABE36617C31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5765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34257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8CAEC8-F8D0-0D4D-AD61-DF383BF39B38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6663"/>
            <a:ext cx="5943600" cy="3344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6910" y="4767262"/>
            <a:ext cx="541528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27DB15-86C7-F846-8222-8B4A4F1DB639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97491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689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7263" y="1062038"/>
            <a:ext cx="5106987" cy="28733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4E26F-B769-4CDA-9E66-04CF73B32AEC}" type="slidenum">
              <a:rPr kumimoji="0" lang="pt-BR" altLang="pt-BR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altLang="pt-BR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59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Espaço Reservado para Imagem de Slide 1">
            <a:extLst>
              <a:ext uri="{FF2B5EF4-FFF2-40B4-BE49-F238E27FC236}">
                <a16:creationId xmlns:a16="http://schemas.microsoft.com/office/drawing/2014/main" id="{BD8C5FF4-8BCF-4CDE-AC07-9E576341DD3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Espaço Reservado para Anotações 2">
            <a:extLst>
              <a:ext uri="{FF2B5EF4-FFF2-40B4-BE49-F238E27FC236}">
                <a16:creationId xmlns:a16="http://schemas.microsoft.com/office/drawing/2014/main" id="{AA054DA2-C459-4E08-B83B-AD97B262CA7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31748" name="Espaço Reservado para Número de Slide 3">
            <a:extLst>
              <a:ext uri="{FF2B5EF4-FFF2-40B4-BE49-F238E27FC236}">
                <a16:creationId xmlns:a16="http://schemas.microsoft.com/office/drawing/2014/main" id="{EAAA2C68-4080-4D66-9A31-4B61B9E21E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6BDD0-5603-4795-AAA3-101D8541A4FD}" type="slidenum">
              <a:rPr kumimoji="0" lang="pt-BR" altLang="pt-BR" sz="1200" b="0" i="0" u="sng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altLang="pt-BR" sz="12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466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27DDB-D351-4F5D-9F4B-A360B6D909FE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54360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90563" y="1146175"/>
            <a:ext cx="5513387" cy="31003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4E26F-B769-4CDA-9E66-04CF73B32AEC}" type="slidenum">
              <a:rPr kumimoji="0" lang="pt-BR" altLang="pt-BR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altLang="pt-BR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652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873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2789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002F6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emples </a:t>
            </a:r>
            <a:r>
              <a:rPr kumimoji="0" lang="pt-B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F6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002F6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IOCRUZ </a:t>
            </a:r>
            <a:r>
              <a:rPr kumimoji="0" lang="pt-B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F6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jects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002F6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CLINICAL TRIALS 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orte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ial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th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ellow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ver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ccine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in non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demic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áre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th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0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ear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llowing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eningo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  Fase II/III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ial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n Rio de Janeir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chistosomiasi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Vacine fase III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RAINING OF HUMAN RESOURCES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26 </a:t>
            </a:r>
            <a:r>
              <a:rPr kumimoji="0" lang="en-US" alt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ricto</a:t>
            </a: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en-US" alt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ensu</a:t>
            </a: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programs – master’s and doctorate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50 </a:t>
            </a:r>
            <a:r>
              <a:rPr kumimoji="0" lang="en-US" alt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Lato</a:t>
            </a: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</a:t>
            </a:r>
            <a:r>
              <a:rPr kumimoji="0" lang="en-US" alt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ensu</a:t>
            </a: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courses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2.500 graduates/year – postgraduate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56.706 Professional education (1985 – 2015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27DB15-86C7-F846-8222-8B4A4F1DB63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24154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56660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3851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2750" y="1236663"/>
            <a:ext cx="5943600" cy="3344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4E26F-B769-4CDA-9E66-04CF73B32AEC}" type="slidenum">
              <a:rPr kumimoji="0" lang="pt-BR" altLang="pt-BR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altLang="pt-BR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844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27DB15-86C7-F846-8222-8B4A4F1DB63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38732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90563" y="1146175"/>
            <a:ext cx="5513387" cy="31003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4E26F-B769-4CDA-9E66-04CF73B32AEC}" type="slidenum">
              <a:rPr kumimoji="0" lang="pt-BR" altLang="pt-BR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altLang="pt-BR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24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6452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0476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68485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122653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582539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642" tIns="1920144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7" y="2459705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629783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5" y="4657347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© Bill &amp; Melinda Gates Foundation      |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 spc="27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63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5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1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accent4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7" y="4657347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7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299544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 baseline="0"/>
            </a:lvl1pPr>
            <a:lvl2pPr marL="228584" indent="-22858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2980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900" b="1" baseline="0"/>
            </a:lvl1pPr>
            <a:lvl2pPr marL="228584" indent="-22858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7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00"/>
            </a:lvl1pPr>
            <a:lvl2pPr>
              <a:spcBef>
                <a:spcPts val="800"/>
              </a:spcBef>
              <a:defRPr sz="17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500"/>
            </a:lvl4pPr>
            <a:lvl5pPr>
              <a:spcBef>
                <a:spcPts val="80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8096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6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7" y="1162283"/>
            <a:ext cx="11106151" cy="600132"/>
          </a:xfrm>
        </p:spPr>
        <p:txBody>
          <a:bodyPr/>
          <a:lstStyle>
            <a:lvl1pPr marL="0" indent="0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5" y="1949454"/>
            <a:ext cx="11106151" cy="4288367"/>
          </a:xfrm>
        </p:spPr>
        <p:txBody>
          <a:bodyPr tIns="1097226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5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382856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516239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6160"/>
            <a:ext cx="6718301" cy="452166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9653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3333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49769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100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900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9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5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17" indent="-232817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7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7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0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70" tIns="1828709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91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77803"/>
            <a:ext cx="11516784" cy="10033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4433" y="1351285"/>
            <a:ext cx="11516784" cy="5320983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35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4pPr>
            <a:lvl5pPr marL="1714372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5pPr>
            <a:lvl6pPr marL="2171538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6pPr>
            <a:lvl7pPr marL="262870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7pPr>
            <a:lvl8pPr marL="3028723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8pPr>
            <a:lvl9pPr marL="3485890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229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373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2700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9864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2963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120228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8724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1185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2495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848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5531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8567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014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39EAC5-845C-47D0-9F8A-E14B3E6259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583D586-F3FD-4811-8BF3-E9F5F0172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2F22699-C2F5-42EA-8C1C-BA03A23CD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232AC3-BEF6-43F0-BE64-D6CB8487D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1BD447-066A-473D-81CF-CE0B3F612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08662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5558F1-29E0-4A86-BB32-754E96A47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3765843-747D-4F20-B703-52CBF1FA4A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BF7695A-6C7B-4896-80F4-A267FD225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81AFF5-35E8-4391-A469-8CFE7A12A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95358B3-87D1-49C0-BFBD-7B61C58EC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14701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4C737B3-0BD9-464B-81F2-923E65392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DE612C8-92F3-4D9F-9EAF-2CCA650698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678D5DC-322A-48C1-A1F9-0F33659C9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DC05CB6-0DCD-4E6A-856D-2C1237368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BDADAB-E319-4522-87E9-741C4DFA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6466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32930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9D96BD-AC25-48B9-9695-E341266BC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EB69600-B3E7-4F49-81EB-0F7EDFE0DC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8BA47BD-3DA2-405C-9DBA-E8BE00E8D0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59BCD28-A80B-4103-A83B-6ACE441EA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6448D38-9C51-416A-9F71-0EB6CAE44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E51135-DA7D-4D97-A4F3-D67EBCC26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38849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A5D87D-21E1-4938-8249-98B158CB6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2A884FF-838B-494F-B36E-C7CE872502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7C21521-B1E4-4D8E-A653-92F359FEEE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438AE67C-ADEA-4110-BB5E-8A56A836F4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E172446-9288-4706-82D4-5C604D4217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8CEE49F-260C-4AEF-8FFD-862EA3371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D0AA3D3-7223-45A2-B880-A742BEA28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1D931CF-F934-4313-8402-3A735AC2C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66791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42D4594-9E1D-4D61-A03D-15CDD9735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E578FB8-3875-4E43-930A-C4064C80E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0A5F26F-1260-4DD0-AB90-24537DEC6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304D6EB-EA48-4704-B6E5-BABC45359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27366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D19B2D30-6894-43FF-8871-1F388D065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B07154C-9FD7-4B52-A6CD-AEF4ACBF8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2AF1FD4-80F6-4284-88C0-05E874DBD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89366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39CEB3-74C3-4488-A60C-F4720E01C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E95D7E7-21A2-4CE7-9CE7-CE1AE5494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EDF7CCC-D94A-40CC-BE57-FA88F8D4F6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0FFB7C2-FF64-470D-82AB-C17351AEE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519C939-277F-4524-B63C-0A2FAF7B2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CCF2BB7-857C-403D-A6C7-2481F8CBC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48853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9CA5D4-7CF4-438A-BB2B-F9B75ED38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7389FF3-8507-4318-BB72-E5797F78E8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569B7EE-15BF-4263-B93A-5251F6B62F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FAA062E-A8AC-425E-88D4-402CDA7A4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F56885E-0D5B-4204-936B-7EA53EA86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7F2C88C-CA6A-4292-ADE0-4A9FDF3F6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64818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2C938D-FDDF-44FD-8A65-9CF4FF82A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E31A237-27DA-4F62-A9A2-35D71C990E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EA23701-9723-4049-BE11-47AC8A2A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BCE4069-4FE1-428B-87AA-003397732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E59301-D731-4486-B96B-59A6A331D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5566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1926CC6-A623-4DD7-B8B1-BB956BFB76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732F854-250D-44E0-A03D-AC5B54AC9B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B35F97-AA99-40A2-B3A4-C3F631417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BBB4C24-7DAF-4374-85BF-4E874448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8C0FC6D-07E9-4D7D-A70F-9E27AB210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46576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0625" y="354508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1091061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mage"/>
          <p:cNvSpPr>
            <a:spLocks noGrp="1"/>
          </p:cNvSpPr>
          <p:nvPr>
            <p:ph type="pic" idx="13"/>
          </p:nvPr>
        </p:nvSpPr>
        <p:spPr>
          <a:xfrm>
            <a:off x="1524000" y="473273"/>
            <a:ext cx="9144000" cy="415230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0625" y="573285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813987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70896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85840121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7750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39" name="Title Text"/>
          <p:cNvSpPr txBox="1"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Title Text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92969" y="3321844"/>
            <a:ext cx="5000625" cy="28932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1721337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4047273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half" idx="13"/>
          </p:nvPr>
        </p:nvSpPr>
        <p:spPr>
          <a:xfrm>
            <a:off x="6298406" y="182165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6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92969" y="182165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3329" y="6536531"/>
            <a:ext cx="331822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37546231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1956079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Image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4" name="Image"/>
          <p:cNvSpPr>
            <a:spLocks noGrp="1"/>
          </p:cNvSpPr>
          <p:nvPr>
            <p:ph type="pic" sz="quarter" idx="14"/>
          </p:nvPr>
        </p:nvSpPr>
        <p:spPr>
          <a:xfrm>
            <a:off x="6298406" y="625078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5" name="Image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4570145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0625" y="4473773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 i="1"/>
            </a:lvl1pPr>
          </a:lstStyle>
          <a:p>
            <a:r>
              <a:t>–Johnny Appleseed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0625" y="2979431"/>
            <a:ext cx="9810750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8494222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0192560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7028792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image2.png" descr="image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631" y="6267589"/>
            <a:ext cx="343121" cy="301598"/>
          </a:xfrm>
          <a:prstGeom prst="rect">
            <a:avLst/>
          </a:prstGeom>
          <a:ln w="12700">
            <a:miter lim="400000"/>
          </a:ln>
        </p:spPr>
      </p:pic>
      <p:sp>
        <p:nvSpPr>
          <p:cNvPr id="1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905840" y="6248400"/>
            <a:ext cx="371763" cy="326109"/>
          </a:xfrm>
          <a:prstGeom prst="rect">
            <a:avLst/>
          </a:prstGeom>
        </p:spPr>
        <p:txBody>
          <a:bodyPr lIns="65021" tIns="65021" rIns="65021" bIns="65021"/>
          <a:lstStyle>
            <a:lvl1pPr algn="r" defTabSz="914367">
              <a:defRPr sz="1266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418905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90466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6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99836847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itle Text"/>
          <p:cNvSpPr txBox="1">
            <a:spLocks noGrp="1"/>
          </p:cNvSpPr>
          <p:nvPr>
            <p:ph type="title"/>
          </p:nvPr>
        </p:nvSpPr>
        <p:spPr>
          <a:xfrm>
            <a:off x="838199" y="1131094"/>
            <a:ext cx="10515602" cy="994173"/>
          </a:xfrm>
          <a:prstGeom prst="rect">
            <a:avLst/>
          </a:prstGeom>
        </p:spPr>
        <p:txBody>
          <a:bodyPr lIns="48767" tIns="48767" rIns="48767" bIns="48767"/>
          <a:lstStyle>
            <a:lvl1pPr algn="l" defTabSz="914367">
              <a:lnSpc>
                <a:spcPct val="90000"/>
              </a:lnSpc>
              <a:defRPr sz="4359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45" name="Body Level One…"/>
          <p:cNvSpPr txBox="1">
            <a:spLocks noGrp="1"/>
          </p:cNvSpPr>
          <p:nvPr>
            <p:ph type="body" idx="1"/>
          </p:nvPr>
        </p:nvSpPr>
        <p:spPr>
          <a:xfrm>
            <a:off x="838199" y="2226469"/>
            <a:ext cx="10515602" cy="3263504"/>
          </a:xfrm>
          <a:prstGeom prst="rect">
            <a:avLst/>
          </a:prstGeom>
        </p:spPr>
        <p:txBody>
          <a:bodyPr lIns="48767" tIns="48767" rIns="48767" bIns="48767" anchor="t"/>
          <a:lstStyle>
            <a:lvl1pPr marL="218131" indent="-218131" defTabSz="914367">
              <a:lnSpc>
                <a:spcPct val="90000"/>
              </a:lnSpc>
              <a:spcBef>
                <a:spcPts val="984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1pPr>
            <a:lvl2pPr marL="575944" indent="-254487" defTabSz="914367">
              <a:lnSpc>
                <a:spcPct val="90000"/>
              </a:lnSpc>
              <a:spcBef>
                <a:spcPts val="984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2pPr>
            <a:lvl3pPr marL="948298" indent="-305384" defTabSz="914367">
              <a:lnSpc>
                <a:spcPct val="90000"/>
              </a:lnSpc>
              <a:spcBef>
                <a:spcPts val="984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3pPr>
            <a:lvl4pPr marL="1303688" indent="-339316" defTabSz="914367">
              <a:lnSpc>
                <a:spcPct val="90000"/>
              </a:lnSpc>
              <a:spcBef>
                <a:spcPts val="984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4pPr>
            <a:lvl5pPr marL="1625145" indent="-339316" defTabSz="914367">
              <a:lnSpc>
                <a:spcPct val="90000"/>
              </a:lnSpc>
              <a:spcBef>
                <a:spcPts val="984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22879" y="5625630"/>
            <a:ext cx="330922" cy="271611"/>
          </a:xfrm>
          <a:prstGeom prst="rect">
            <a:avLst/>
          </a:prstGeom>
        </p:spPr>
        <p:txBody>
          <a:bodyPr lIns="48767" tIns="48767" rIns="48767" bIns="48767" anchor="ctr"/>
          <a:lstStyle>
            <a:lvl1pPr algn="r" defTabSz="914367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00517270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02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AE9ED4C4-1D28-4BD0-B5CF-E4620F627CF4}" type="datetimeFigureOut">
              <a:rPr lang="pt-BR" smtClean="0">
                <a:solidFill>
                  <a:prstClr val="black"/>
                </a:solidFill>
              </a:rPr>
              <a:pPr defTabSz="457200"/>
              <a:t>23/10/2019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63B8E5DC-FE5A-45CF-AD8B-D3E563A5DF73}" type="slidenum">
              <a:rPr lang="pt-BR" smtClean="0">
                <a:solidFill>
                  <a:prstClr val="black"/>
                </a:solidFill>
              </a:rPr>
              <a:pPr defTabSz="457200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947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50884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B323B2-F48B-47AF-A18C-462FA3D23766}" type="datetimeFigureOut">
              <a:rPr lang="pt-BR" smtClean="0"/>
              <a:t>23/10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3695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153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0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5" y="707273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372528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914354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54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354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7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833" y="353093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5560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10" rtl="0" eaLnBrk="1" latinLnBrk="0" hangingPunct="1">
        <a:lnSpc>
          <a:spcPts val="3067"/>
        </a:lnSpc>
        <a:spcBef>
          <a:spcPct val="0"/>
        </a:spcBef>
        <a:buNone/>
        <a:defRPr sz="31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1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399" indent="-243399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283" indent="-19895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60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50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32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54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998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9CB291E-3526-48AC-922E-4BE84739F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D29C7EA-42B1-4CF0-A67B-BD08D6E92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955A0F0-02AF-411F-B227-AC97DE1770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6702CD-D51D-42F5-AD10-02551FFBE859}" type="datetimeFigureOut">
              <a:rPr lang="pt-BR" smtClean="0"/>
              <a:pPr/>
              <a:t>23/10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146E4A1-00EA-4837-AE24-F67041FC7D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683D50-CD02-4AE9-9762-EE4ED3FBB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9CACFE-5611-45D1-8070-616C71C9452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1259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92969" y="178594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92969" y="182165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3329" y="6536531"/>
            <a:ext cx="331822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325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015" y="6091274"/>
            <a:ext cx="4273221" cy="43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6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Relationship Id="rId5" Type="http://schemas.openxmlformats.org/officeDocument/2006/relationships/hyperlink" Target="http://observatorio.fiocruz.br/sites/default/files/zika_completo_0.pdf" TargetMode="External"/><Relationship Id="rId4" Type="http://schemas.openxmlformats.org/officeDocument/2006/relationships/image" Target="../media/image2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.png"/><Relationship Id="rId5" Type="http://schemas.openxmlformats.org/officeDocument/2006/relationships/hyperlink" Target="http://observatorio.fiocruz.br/" TargetMode="Externa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observatorio.fiocruz.br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20.jpg"/><Relationship Id="rId4" Type="http://schemas.openxmlformats.org/officeDocument/2006/relationships/image" Target="../media/image19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67216" y="2636841"/>
            <a:ext cx="5691187" cy="1296987"/>
          </a:xfrm>
        </p:spPr>
        <p:txBody>
          <a:bodyPr anchor="ctr"/>
          <a:lstStyle/>
          <a:p>
            <a:pPr algn="l" eaLnBrk="1" hangingPunct="1"/>
            <a:r>
              <a:rPr lang="pt-BR" altLang="pt-BR" sz="2400" dirty="0">
                <a:solidFill>
                  <a:schemeClr val="bg1"/>
                </a:solidFill>
                <a:latin typeface="Arial" panose="020B0604020202020204" pitchFamily="34" charset="0"/>
              </a:rPr>
              <a:t>Pesquisas da Fundação Oswaldo Cruz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828659" y="4373717"/>
            <a:ext cx="5132637" cy="1143000"/>
          </a:xfrm>
        </p:spPr>
        <p:txBody>
          <a:bodyPr/>
          <a:lstStyle/>
          <a:p>
            <a:pPr algn="l" eaLnBrk="1" hangingPunct="1">
              <a:defRPr/>
            </a:pPr>
            <a:r>
              <a:rPr lang="pt-BR" altLang="pt-BR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23/10/2019</a:t>
            </a:r>
          </a:p>
          <a:p>
            <a:pPr algn="l" eaLnBrk="1" hangingPunct="1">
              <a:defRPr/>
            </a:pPr>
            <a:r>
              <a:rPr lang="pt-BR" altLang="pt-BR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Audiência Pública </a:t>
            </a:r>
          </a:p>
          <a:p>
            <a:pPr algn="l" eaLnBrk="1" hangingPunct="1">
              <a:defRPr/>
            </a:pPr>
            <a:r>
              <a:rPr lang="pt-BR" altLang="pt-BR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Comissão de Ciência, Tecnologia, Inovação, Comunicação e Informática</a:t>
            </a:r>
          </a:p>
          <a:p>
            <a:pPr algn="l" eaLnBrk="1" hangingPunct="1">
              <a:defRPr/>
            </a:pPr>
            <a:r>
              <a:rPr lang="pt-BR" altLang="pt-BR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Senado Federal</a:t>
            </a:r>
          </a:p>
        </p:txBody>
      </p:sp>
    </p:spTree>
    <p:extLst>
      <p:ext uri="{BB962C8B-B14F-4D97-AF65-F5344CB8AC3E}">
        <p14:creationId xmlns:p14="http://schemas.microsoft.com/office/powerpoint/2010/main" val="1421249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5244B11-D00E-C34A-AFB3-44575462B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0497" y="1745750"/>
            <a:ext cx="11360989" cy="954318"/>
          </a:xfrm>
        </p:spPr>
        <p:txBody>
          <a:bodyPr/>
          <a:lstStyle/>
          <a:p>
            <a:pPr marL="0" inden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Consolidar o </a:t>
            </a:r>
            <a:r>
              <a:rPr lang="pt-BR" sz="1800" b="1" dirty="0">
                <a:latin typeface="Arial" panose="020B0604020202020204" pitchFamily="34" charset="0"/>
                <a:cs typeface="Arial" panose="020B0604020202020204" pitchFamily="34" charset="0"/>
              </a:rPr>
              <a:t>novo Modelo de Indução ao DT e Inovação em Saúde (Inova Fiocruz)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 – que fortalece a transferência do conhecimento gerado na instituição para a sociedade. </a:t>
            </a:r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49F4C970-4869-5844-AA17-523239FF3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518" y="542364"/>
            <a:ext cx="103632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pt-BR" altLang="pt-BR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</a:rPr>
              <a:t>Inova Fiocruz</a:t>
            </a:r>
            <a:endParaRPr lang="pt-BR" sz="2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2F9B2EA-17C2-488E-BC3C-75BB3CEC1CF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870" y="2924356"/>
            <a:ext cx="6685473" cy="301488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AF9B207E-20BB-4A02-A2E8-78815295F1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1848" y="2708694"/>
            <a:ext cx="4442605" cy="342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53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49F4C970-4869-5844-AA17-523239FF3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991" y="1289935"/>
            <a:ext cx="2192482" cy="6641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 eaLnBrk="1" hangingPunct="1">
              <a:lnSpc>
                <a:spcPct val="90000"/>
              </a:lnSpc>
            </a:pPr>
            <a:r>
              <a:rPr lang="pt-BR" altLang="pt-BR" sz="28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</a:rPr>
              <a:t>| Wolbachia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5244B11-D00E-C34A-AFB3-44575462B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3212" y="2044716"/>
            <a:ext cx="5886993" cy="2948944"/>
          </a:xfrm>
        </p:spPr>
        <p:txBody>
          <a:bodyPr/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Iniciativa internacional sem fins lucrativos que atua em 12 países. No Brasil, o trabalho é desenvolvido pela Fiocruz.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800" b="1" dirty="0">
                <a:latin typeface="Arial" panose="020B0604020202020204" pitchFamily="34" charset="0"/>
                <a:cs typeface="Arial" panose="020B0604020202020204" pitchFamily="34" charset="0"/>
              </a:rPr>
              <a:t>Método Wolbachia 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consiste na liberação de mosquitos que contenham essa bactéria capaz de reduzir a transmissão de arboviroses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Rio e Niterói já participam da iniciativa, que se expandirá para Campo Grande, Belo Horizonte e Petrolina ainda neste ano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3464" y="0"/>
            <a:ext cx="6108536" cy="6858000"/>
          </a:xfrm>
          <a:prstGeom prst="rect">
            <a:avLst/>
          </a:prstGeom>
        </p:spPr>
      </p:pic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10768850" y="6181179"/>
            <a:ext cx="1311485" cy="274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C3300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C3300"/>
              </a:buClr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CC3300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to| WMP Brasil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E13A7BC-0329-0940-ACCA-35724B1FD9EF}"/>
              </a:ext>
            </a:extLst>
          </p:cNvPr>
          <p:cNvSpPr txBox="1"/>
          <p:nvPr/>
        </p:nvSpPr>
        <p:spPr>
          <a:xfrm>
            <a:off x="7995693" y="1559362"/>
            <a:ext cx="27731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Aedes com Wolbachia tem capacidade reduzida de transmitir dengue, Zika e chikungunya.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DA23C2-169D-BE4D-B737-755BF79B7B5B}"/>
              </a:ext>
            </a:extLst>
          </p:cNvPr>
          <p:cNvSpPr/>
          <p:nvPr/>
        </p:nvSpPr>
        <p:spPr bwMode="auto">
          <a:xfrm>
            <a:off x="7878177" y="555585"/>
            <a:ext cx="914400" cy="896848"/>
          </a:xfrm>
          <a:prstGeom prst="ellipse">
            <a:avLst/>
          </a:prstGeom>
          <a:solidFill>
            <a:schemeClr val="bg1">
              <a:alpha val="0"/>
            </a:schemeClr>
          </a:solidFill>
          <a:ln w="158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12ED665-ECD2-3E4D-9854-4E8D445BB869}"/>
              </a:ext>
            </a:extLst>
          </p:cNvPr>
          <p:cNvSpPr/>
          <p:nvPr/>
        </p:nvSpPr>
        <p:spPr bwMode="auto">
          <a:xfrm>
            <a:off x="0" y="5129349"/>
            <a:ext cx="6078583" cy="1593668"/>
          </a:xfrm>
          <a:prstGeom prst="rect">
            <a:avLst/>
          </a:prstGeom>
          <a:solidFill>
            <a:srgbClr val="36A4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ltados preliminares mostram 75% de redução na incidência de casos de chikungunya em Niterói, em áreas que a Wolbachia já se estabeleceu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13" name="Text Box 10">
            <a:extLst>
              <a:ext uri="{FF2B5EF4-FFF2-40B4-BE49-F238E27FC236}">
                <a16:creationId xmlns:a16="http://schemas.microsoft.com/office/drawing/2014/main" id="{41814201-E9C6-F542-B2D9-F36A4B5C7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68518" y="6409784"/>
            <a:ext cx="1811817" cy="280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C3300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C3300"/>
              </a:buClr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CC3300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t-BR" alt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wmpbrasil.org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A5DA4912-E774-6E45-A14D-E72F57E9ECC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057" y="1166948"/>
            <a:ext cx="1991205" cy="874555"/>
          </a:xfrm>
          <a:prstGeom prst="rect">
            <a:avLst/>
          </a:prstGeom>
        </p:spPr>
      </p:pic>
      <p:sp>
        <p:nvSpPr>
          <p:cNvPr id="12" name="Rectangle 2">
            <a:extLst>
              <a:ext uri="{FF2B5EF4-FFF2-40B4-BE49-F238E27FC236}">
                <a16:creationId xmlns:a16="http://schemas.microsoft.com/office/drawing/2014/main" id="{0086491E-E77E-4993-8C76-80CB83A84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7981" y="253638"/>
            <a:ext cx="4563549" cy="775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ovação em controle de vetores</a:t>
            </a:r>
          </a:p>
        </p:txBody>
      </p:sp>
    </p:spTree>
    <p:extLst>
      <p:ext uri="{BB962C8B-B14F-4D97-AF65-F5344CB8AC3E}">
        <p14:creationId xmlns:p14="http://schemas.microsoft.com/office/powerpoint/2010/main" val="3660524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4" name="Imagem 1">
            <a:extLst>
              <a:ext uri="{FF2B5EF4-FFF2-40B4-BE49-F238E27FC236}">
                <a16:creationId xmlns:a16="http://schemas.microsoft.com/office/drawing/2014/main" id="{C2C3B79A-382D-42FD-A56E-74FFD22DCF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146300"/>
            <a:ext cx="6547554" cy="368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 descr="https://agencia.fiocruz.br/sites/agencia.fiocruz.br/files/u34/eventobrics_materi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6577" y="2146300"/>
            <a:ext cx="5545423" cy="368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60876" y="5918200"/>
            <a:ext cx="55454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contro que reuniu representantes dos BRICS em torno das discussões sobre a Rede Global de Bancos de Leite Humano, coordenada pela Fiocruz (ago/19)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4200" y="563014"/>
            <a:ext cx="11099800" cy="1341985"/>
          </a:xfr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sil é referência mundial em Bancos de Leite Humano</a:t>
            </a:r>
            <a:br>
              <a:rPr lang="pt-B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pt-B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ocruz coordena a Rede Global de Bancos de Leite Humano</a:t>
            </a:r>
            <a:endParaRPr lang="pt-BR" altLang="pt-BR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451554" y="5924550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Rede atendeu 27,5 milhões de mulheres e recém-nascidos, e coletou 2,5 milhões de litros de leite humano nos últimos 10 anos, nos 22 países em que atua. 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419E9EC8-05A5-46AD-9176-2B6F8FAF4A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F042811-5F74-40CD-BB19-545C0FF76D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pt-BR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Início da parceria para pesquisa na Antártica – </a:t>
            </a:r>
            <a:br>
              <a:rPr lang="pt-BR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</a:br>
            <a:r>
              <a:rPr lang="pt-BR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com a Marinha do Brasi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995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0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DD05559-8926-4C0D-B424-D27CDEF21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F4C67E6F-14BF-4542-BAA5-490A73778D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A298A73-856C-4769-8BAC-5FC2149F016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8000"/>
          <a:stretch/>
        </p:blipFill>
        <p:spPr>
          <a:xfrm>
            <a:off x="4494612" y="4397432"/>
            <a:ext cx="7717937" cy="2460568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C561F9C7-5FEB-4CF8-8A65-757161C7F9C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05" b="73333"/>
          <a:stretch/>
        </p:blipFill>
        <p:spPr>
          <a:xfrm>
            <a:off x="0" y="0"/>
            <a:ext cx="8903957" cy="210787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AE8F2DA-FB71-4001-A3B8-DF5DEFA8F6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198" b="43206"/>
          <a:stretch/>
        </p:blipFill>
        <p:spPr>
          <a:xfrm>
            <a:off x="1849349" y="1752600"/>
            <a:ext cx="9218524" cy="2718262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A2F54762-78AB-4DF4-B9BE-1EF9897F5D11}"/>
              </a:ext>
            </a:extLst>
          </p:cNvPr>
          <p:cNvSpPr txBox="1"/>
          <p:nvPr/>
        </p:nvSpPr>
        <p:spPr>
          <a:xfrm>
            <a:off x="0" y="6063734"/>
            <a:ext cx="4419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observatorio.fiocruz.br/sites/default/files/zika_completo_0.pdf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3317586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sultado de imagem para denguetec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1377" y="1633630"/>
            <a:ext cx="1829624" cy="18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663" y="1262567"/>
            <a:ext cx="5732961" cy="2571750"/>
          </a:xfrm>
          <a:prstGeom prst="rect">
            <a:avLst/>
          </a:prstGeom>
        </p:spPr>
      </p:pic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632048" y="768729"/>
            <a:ext cx="9258643" cy="4924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ocruz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cosystem,  R&amp;D&amp;I for public health challenges</a:t>
            </a:r>
          </a:p>
        </p:txBody>
      </p:sp>
      <p:pic>
        <p:nvPicPr>
          <p:cNvPr id="28" name="Picture 4" descr="http://www.cosemsrn.org.br/wp-content/uploads/2017/11/WhatsApp-Image-2017-11-16-at-16.55.06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6473" y="1701804"/>
            <a:ext cx="2435597" cy="161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955" y="3761727"/>
            <a:ext cx="5657105" cy="2248548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2060" y="3761727"/>
            <a:ext cx="6409940" cy="2209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179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céu, ao ar livre, árvore, edifício&#10;&#10;Descrição gerada com muito alta confiança">
            <a:extLst>
              <a:ext uri="{FF2B5EF4-FFF2-40B4-BE49-F238E27FC236}">
                <a16:creationId xmlns:a16="http://schemas.microsoft.com/office/drawing/2014/main" id="{36FCE162-E5F2-431D-A60C-A27D2A5477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6C3CB213-3722-4E0E-8E5D-1D6BD739577C}"/>
              </a:ext>
            </a:extLst>
          </p:cNvPr>
          <p:cNvSpPr txBox="1"/>
          <p:nvPr/>
        </p:nvSpPr>
        <p:spPr>
          <a:xfrm>
            <a:off x="376507" y="496558"/>
            <a:ext cx="53355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Ciência e Saúde para todos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810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09B445C7-F4A4-40C5-88FB-BE181449B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3269" y="1072297"/>
            <a:ext cx="6952033" cy="4074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700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F16451C-3A73-4BB3-BC85-A3D7B585AC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8542" y="636439"/>
            <a:ext cx="9866349" cy="779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500" tIns="46980" rIns="67500" bIns="3375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tabLst>
                <a:tab pos="542925" algn="l"/>
                <a:tab pos="1085850" algn="l"/>
                <a:tab pos="1628775" algn="l"/>
                <a:tab pos="2171700" algn="l"/>
                <a:tab pos="2714625" algn="l"/>
                <a:tab pos="3257550" algn="l"/>
              </a:tabLst>
            </a:pPr>
            <a:r>
              <a:rPr lang="pt-BR" altLang="pt-BR" sz="3200" b="1" dirty="0">
                <a:solidFill>
                  <a:schemeClr val="tx1"/>
                </a:solidFill>
              </a:rPr>
              <a:t>Participação na construção das visões de nação e do Estado </a:t>
            </a:r>
          </a:p>
        </p:txBody>
      </p:sp>
      <p:pic>
        <p:nvPicPr>
          <p:cNvPr id="8" name="Imagem 2">
            <a:extLst>
              <a:ext uri="{FF2B5EF4-FFF2-40B4-BE49-F238E27FC236}">
                <a16:creationId xmlns:a16="http://schemas.microsoft.com/office/drawing/2014/main" id="{9C17A1FA-4D1E-4A24-BDAF-5BECD5F9B0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5" y="1742000"/>
            <a:ext cx="6098425" cy="3379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15D7343A-DC37-47B9-B40D-1A303A5334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92" y="5283027"/>
            <a:ext cx="5865120" cy="1207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5000" rIns="90000" bIns="45000" numCol="1" anchor="ctr" anchorCtr="0" compatLnSpc="1">
            <a:prstTxWarp prst="textNoShape">
              <a:avLst/>
            </a:prstTxWarp>
          </a:bodyPr>
          <a:lstStyle>
            <a:lvl1pPr algn="l" defTabSz="336947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+mj-lt"/>
                <a:ea typeface="+mj-ea"/>
                <a:cs typeface="+mj-cs"/>
              </a:defRPr>
            </a:lvl1pPr>
            <a:lvl2pPr algn="l" defTabSz="336947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2pPr>
            <a:lvl3pPr algn="l" defTabSz="336947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3pPr>
            <a:lvl4pPr algn="l" defTabSz="336947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4pPr>
            <a:lvl5pPr algn="l" defTabSz="336947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5pPr>
            <a:lvl6pPr marL="1885950" indent="-171450" algn="l" defTabSz="336947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6pPr>
            <a:lvl7pPr marL="2228850" indent="-171450" algn="l" defTabSz="336947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7pPr>
            <a:lvl8pPr marL="2571750" indent="-171450" algn="l" defTabSz="336947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8pPr>
            <a:lvl9pPr marL="2914650" indent="-171450" algn="l" defTabSz="336947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hangingPunct="1"/>
            <a:r>
              <a:rPr lang="pt-BR" altLang="pt-BR" sz="2000" b="1" kern="0" dirty="0">
                <a:solidFill>
                  <a:schemeClr val="tx1"/>
                </a:solidFill>
                <a:latin typeface="Arial" panose="020B0604020202020204" pitchFamily="34" charset="0"/>
              </a:rPr>
              <a:t>Empregados da Fiocruz trabalhando no  empacotamento da vacina da febre amarela na década de 1920 </a:t>
            </a:r>
          </a:p>
        </p:txBody>
      </p:sp>
      <p:pic>
        <p:nvPicPr>
          <p:cNvPr id="10" name="Picture 2" descr="Resultado de imagem para vACINa fiocruz febre amarela">
            <a:extLst>
              <a:ext uri="{FF2B5EF4-FFF2-40B4-BE49-F238E27FC236}">
                <a16:creationId xmlns:a16="http://schemas.microsoft.com/office/drawing/2014/main" id="{2D88A8EA-CEC7-412A-ABCB-4A0BEB4D7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9080" y="1742000"/>
            <a:ext cx="5849667" cy="3379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29FDAFFE-070B-4403-837B-4E7FE29090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5115719"/>
            <a:ext cx="5865120" cy="1207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5000" rIns="90000" bIns="4500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ctr" defTabSz="336947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 b="1" kern="0">
                <a:latin typeface="Arial" panose="020B0604020202020204" pitchFamily="34" charset="0"/>
                <a:ea typeface="+mj-ea"/>
                <a:cs typeface="+mj-cs"/>
              </a:defRPr>
            </a:lvl1pPr>
            <a:lvl2pPr defTabSz="336947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2pPr>
            <a:lvl3pPr defTabSz="336947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3pPr>
            <a:lvl4pPr defTabSz="336947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4pPr>
            <a:lvl5pPr defTabSz="336947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5pPr>
            <a:lvl6pPr marL="1885950" indent="-171450" defTabSz="33694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6pPr>
            <a:lvl7pPr marL="2228850" indent="-171450" defTabSz="33694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7pPr>
            <a:lvl8pPr marL="2571750" indent="-171450" defTabSz="33694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8pPr>
            <a:lvl9pPr marL="2914650" indent="-171450" defTabSz="33694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700">
                <a:solidFill>
                  <a:srgbClr val="FFCC00"/>
                </a:solidFill>
                <a:latin typeface="Arial" charset="0"/>
                <a:ea typeface="MS Gothic" pitchFamily="49" charset="-128"/>
              </a:defRPr>
            </a:lvl9pPr>
          </a:lstStyle>
          <a:p>
            <a:r>
              <a:rPr lang="pt-BR" altLang="pt-BR" dirty="0"/>
              <a:t>Produção regular anual de 25.000.000 de doses, com aumento da demanda para 67 milhões anuais após surto em 2016</a:t>
            </a:r>
          </a:p>
        </p:txBody>
      </p:sp>
    </p:spTree>
    <p:extLst>
      <p:ext uri="{BB962C8B-B14F-4D97-AF65-F5344CB8AC3E}">
        <p14:creationId xmlns:p14="http://schemas.microsoft.com/office/powerpoint/2010/main" val="2140922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6601" y="694405"/>
            <a:ext cx="8886825" cy="649287"/>
          </a:xfrm>
        </p:spPr>
        <p:txBody>
          <a:bodyPr anchor="ctr"/>
          <a:lstStyle/>
          <a:p>
            <a:pPr eaLnBrk="1" hangingPunct="1"/>
            <a:r>
              <a:rPr lang="pt-BR" altLang="pt-BR" sz="2400" b="1" dirty="0">
                <a:latin typeface="Arial" panose="020B0604020202020204" pitchFamily="34" charset="0"/>
              </a:rPr>
              <a:t>Fiocruz Nacional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1EAD8EE-1943-47A6-84E7-652992E150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6743" y="1526962"/>
            <a:ext cx="6910117" cy="4787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00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D538C5AC-2401-4F17-A740-C8057B3E3A9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0" y="7815"/>
            <a:ext cx="12192000" cy="6842370"/>
          </a:xfrm>
          <a:prstGeom prst="rect">
            <a:avLst/>
          </a:prstGeom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86064" y="551451"/>
            <a:ext cx="10219871" cy="649287"/>
          </a:xfrm>
        </p:spPr>
        <p:txBody>
          <a:bodyPr anchor="ctr"/>
          <a:lstStyle/>
          <a:p>
            <a:pPr eaLnBrk="1" hangingPunct="1"/>
            <a:r>
              <a:rPr lang="pt-BR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Sistema Fiocruz de Ciência, Tecnologia e Inovação</a:t>
            </a:r>
            <a:endParaRPr lang="pt-BR" altLang="pt-BR" sz="2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upo 1">
            <a:extLst>
              <a:ext uri="{FF2B5EF4-FFF2-40B4-BE49-F238E27FC236}">
                <a16:creationId xmlns:a16="http://schemas.microsoft.com/office/drawing/2014/main" id="{CEDC4B03-6787-419C-A96E-13B0B6A2A7DD}"/>
              </a:ext>
            </a:extLst>
          </p:cNvPr>
          <p:cNvGrpSpPr/>
          <p:nvPr/>
        </p:nvGrpSpPr>
        <p:grpSpPr>
          <a:xfrm>
            <a:off x="1309894" y="1752189"/>
            <a:ext cx="9660835" cy="2782956"/>
            <a:chOff x="3036322" y="412674"/>
            <a:chExt cx="8333704" cy="2177648"/>
          </a:xfrm>
        </p:grpSpPr>
        <p:sp>
          <p:nvSpPr>
            <p:cNvPr id="8" name="Triângulo isósceles 7">
              <a:extLst>
                <a:ext uri="{FF2B5EF4-FFF2-40B4-BE49-F238E27FC236}">
                  <a16:creationId xmlns:a16="http://schemas.microsoft.com/office/drawing/2014/main" id="{CEF57B7A-BA48-4DA4-B6E3-513EFE2F6694}"/>
                </a:ext>
              </a:extLst>
            </p:cNvPr>
            <p:cNvSpPr/>
            <p:nvPr/>
          </p:nvSpPr>
          <p:spPr>
            <a:xfrm rot="16200000">
              <a:off x="9399281" y="763644"/>
              <a:ext cx="1601888" cy="1537549"/>
            </a:xfrm>
            <a:prstGeom prst="triangl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solidFill>
                <a:schemeClr val="bg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E0612C55-4B96-4322-B60C-1EDE53039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9096" y="1405678"/>
              <a:ext cx="930381" cy="230951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bg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Scale-up</a:t>
              </a:r>
            </a:p>
          </p:txBody>
        </p:sp>
        <p:sp>
          <p:nvSpPr>
            <p:cNvPr id="10" name="AutoShape 7">
              <a:extLst>
                <a:ext uri="{FF2B5EF4-FFF2-40B4-BE49-F238E27FC236}">
                  <a16:creationId xmlns:a16="http://schemas.microsoft.com/office/drawing/2014/main" id="{C8850FB8-424D-4880-AA5C-6F79E83CE52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472216" y="719262"/>
              <a:ext cx="954518" cy="1616104"/>
            </a:xfrm>
            <a:custGeom>
              <a:avLst/>
              <a:gdLst>
                <a:gd name="G0" fmla="+- 3806 0 0"/>
                <a:gd name="G1" fmla="+- 21600 0 3806"/>
                <a:gd name="G2" fmla="*/ 3806 1 2"/>
                <a:gd name="G3" fmla="+- 21600 0 G2"/>
                <a:gd name="G4" fmla="+/ 3806 21600 2"/>
                <a:gd name="G5" fmla="+/ G1 0 2"/>
                <a:gd name="G6" fmla="*/ 21600 21600 3806"/>
                <a:gd name="G7" fmla="*/ G6 1 2"/>
                <a:gd name="G8" fmla="+- 21600 0 G7"/>
                <a:gd name="G9" fmla="*/ 21600 1 2"/>
                <a:gd name="G10" fmla="+- 3806 0 G9"/>
                <a:gd name="G11" fmla="?: G10 G8 0"/>
                <a:gd name="G12" fmla="?: G10 G7 21600"/>
                <a:gd name="T0" fmla="*/ 19697 w 21600"/>
                <a:gd name="T1" fmla="*/ 10800 h 21600"/>
                <a:gd name="T2" fmla="*/ 10800 w 21600"/>
                <a:gd name="T3" fmla="*/ 21600 h 21600"/>
                <a:gd name="T4" fmla="*/ 1903 w 21600"/>
                <a:gd name="T5" fmla="*/ 10800 h 21600"/>
                <a:gd name="T6" fmla="*/ 10800 w 21600"/>
                <a:gd name="T7" fmla="*/ 0 h 21600"/>
                <a:gd name="T8" fmla="*/ 3703 w 21600"/>
                <a:gd name="T9" fmla="*/ 3703 h 21600"/>
                <a:gd name="T10" fmla="*/ 17897 w 21600"/>
                <a:gd name="T11" fmla="*/ 1789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806" y="21600"/>
                  </a:lnTo>
                  <a:lnTo>
                    <a:pt x="1779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8575">
              <a:solidFill>
                <a:schemeClr val="bg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Desenvolvimento </a:t>
              </a:r>
            </a:p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Tecnológico</a:t>
              </a:r>
            </a:p>
          </p:txBody>
        </p:sp>
        <p:sp>
          <p:nvSpPr>
            <p:cNvPr id="11" name="AutoShape 8">
              <a:extLst>
                <a:ext uri="{FF2B5EF4-FFF2-40B4-BE49-F238E27FC236}">
                  <a16:creationId xmlns:a16="http://schemas.microsoft.com/office/drawing/2014/main" id="{0416DC14-F3A5-434F-84F5-0D1F390FFE1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305636" y="697117"/>
              <a:ext cx="584338" cy="1651790"/>
            </a:xfrm>
            <a:custGeom>
              <a:avLst/>
              <a:gdLst>
                <a:gd name="G0" fmla="+- 3806 0 0"/>
                <a:gd name="G1" fmla="+- 21600 0 3806"/>
                <a:gd name="G2" fmla="*/ 3806 1 2"/>
                <a:gd name="G3" fmla="+- 21600 0 G2"/>
                <a:gd name="G4" fmla="+/ 3806 21600 2"/>
                <a:gd name="G5" fmla="+/ G1 0 2"/>
                <a:gd name="G6" fmla="*/ 21600 21600 3806"/>
                <a:gd name="G7" fmla="*/ G6 1 2"/>
                <a:gd name="G8" fmla="+- 21600 0 G7"/>
                <a:gd name="G9" fmla="*/ 21600 1 2"/>
                <a:gd name="G10" fmla="+- 3806 0 G9"/>
                <a:gd name="G11" fmla="?: G10 G8 0"/>
                <a:gd name="G12" fmla="?: G10 G7 21600"/>
                <a:gd name="T0" fmla="*/ 19697 w 21600"/>
                <a:gd name="T1" fmla="*/ 10800 h 21600"/>
                <a:gd name="T2" fmla="*/ 10800 w 21600"/>
                <a:gd name="T3" fmla="*/ 21600 h 21600"/>
                <a:gd name="T4" fmla="*/ 1903 w 21600"/>
                <a:gd name="T5" fmla="*/ 10800 h 21600"/>
                <a:gd name="T6" fmla="*/ 10800 w 21600"/>
                <a:gd name="T7" fmla="*/ 0 h 21600"/>
                <a:gd name="T8" fmla="*/ 3703 w 21600"/>
                <a:gd name="T9" fmla="*/ 3703 h 21600"/>
                <a:gd name="T10" fmla="*/ 17897 w 21600"/>
                <a:gd name="T11" fmla="*/ 1789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806" y="21600"/>
                  </a:lnTo>
                  <a:lnTo>
                    <a:pt x="1779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C000"/>
            </a:solidFill>
            <a:ln w="28575">
              <a:solidFill>
                <a:schemeClr val="bg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Estudos</a:t>
              </a:r>
            </a:p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Clínicos </a:t>
              </a:r>
            </a:p>
          </p:txBody>
        </p:sp>
        <p:sp>
          <p:nvSpPr>
            <p:cNvPr id="12" name="AutoShape 10">
              <a:extLst>
                <a:ext uri="{FF2B5EF4-FFF2-40B4-BE49-F238E27FC236}">
                  <a16:creationId xmlns:a16="http://schemas.microsoft.com/office/drawing/2014/main" id="{77048EDD-4D62-49C4-BE6B-2E05A57E73E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7900647" y="865058"/>
              <a:ext cx="387061" cy="1312189"/>
            </a:xfrm>
            <a:custGeom>
              <a:avLst/>
              <a:gdLst>
                <a:gd name="G0" fmla="+- 3806 0 0"/>
                <a:gd name="G1" fmla="+- 21600 0 3806"/>
                <a:gd name="G2" fmla="*/ 3806 1 2"/>
                <a:gd name="G3" fmla="+- 21600 0 G2"/>
                <a:gd name="G4" fmla="+/ 3806 21600 2"/>
                <a:gd name="G5" fmla="+/ G1 0 2"/>
                <a:gd name="G6" fmla="*/ 21600 21600 3806"/>
                <a:gd name="G7" fmla="*/ G6 1 2"/>
                <a:gd name="G8" fmla="+- 21600 0 G7"/>
                <a:gd name="G9" fmla="*/ 21600 1 2"/>
                <a:gd name="G10" fmla="+- 3806 0 G9"/>
                <a:gd name="G11" fmla="?: G10 G8 0"/>
                <a:gd name="G12" fmla="?: G10 G7 21600"/>
                <a:gd name="T0" fmla="*/ 19697 w 21600"/>
                <a:gd name="T1" fmla="*/ 10800 h 21600"/>
                <a:gd name="T2" fmla="*/ 10800 w 21600"/>
                <a:gd name="T3" fmla="*/ 21600 h 21600"/>
                <a:gd name="T4" fmla="*/ 1903 w 21600"/>
                <a:gd name="T5" fmla="*/ 10800 h 21600"/>
                <a:gd name="T6" fmla="*/ 10800 w 21600"/>
                <a:gd name="T7" fmla="*/ 0 h 21600"/>
                <a:gd name="T8" fmla="*/ 3703 w 21600"/>
                <a:gd name="T9" fmla="*/ 3703 h 21600"/>
                <a:gd name="T10" fmla="*/ 17897 w 21600"/>
                <a:gd name="T11" fmla="*/ 1789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806" y="21600"/>
                  </a:lnTo>
                  <a:lnTo>
                    <a:pt x="1779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8575">
              <a:solidFill>
                <a:schemeClr val="bg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Validação</a:t>
              </a:r>
            </a:p>
          </p:txBody>
        </p:sp>
        <p:sp>
          <p:nvSpPr>
            <p:cNvPr id="13" name="CaixaDeTexto 14">
              <a:extLst>
                <a:ext uri="{FF2B5EF4-FFF2-40B4-BE49-F238E27FC236}">
                  <a16:creationId xmlns:a16="http://schemas.microsoft.com/office/drawing/2014/main" id="{6F52453D-16B1-42F9-A90A-EF2E3AD30A8F}"/>
                </a:ext>
              </a:extLst>
            </p:cNvPr>
            <p:cNvSpPr txBox="1"/>
            <p:nvPr/>
          </p:nvSpPr>
          <p:spPr>
            <a:xfrm>
              <a:off x="9798183" y="1389508"/>
              <a:ext cx="902965" cy="2890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panose="020B0604020202020204" pitchFamily="34" charset="0"/>
                </a:rPr>
                <a:t>Produção</a:t>
              </a:r>
            </a:p>
          </p:txBody>
        </p: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94701FF9-A031-482D-9A1F-29C1419CE3B7}"/>
                </a:ext>
              </a:extLst>
            </p:cNvPr>
            <p:cNvCxnSpPr/>
            <p:nvPr/>
          </p:nvCxnSpPr>
          <p:spPr>
            <a:xfrm>
              <a:off x="4128940" y="1084181"/>
              <a:ext cx="12527" cy="920389"/>
            </a:xfrm>
            <a:prstGeom prst="line">
              <a:avLst/>
            </a:prstGeom>
            <a:ln w="28575">
              <a:solidFill>
                <a:schemeClr val="tx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tângulo 20">
              <a:extLst>
                <a:ext uri="{FF2B5EF4-FFF2-40B4-BE49-F238E27FC236}">
                  <a16:creationId xmlns:a16="http://schemas.microsoft.com/office/drawing/2014/main" id="{1B041CDD-4AA8-4506-A839-9CCA27AE64A2}"/>
                </a:ext>
              </a:extLst>
            </p:cNvPr>
            <p:cNvSpPr/>
            <p:nvPr/>
          </p:nvSpPr>
          <p:spPr>
            <a:xfrm>
              <a:off x="10758022" y="412674"/>
              <a:ext cx="612004" cy="2177648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+mn-cs"/>
                </a:rPr>
                <a:t>SUS</a:t>
              </a:r>
            </a:p>
          </p:txBody>
        </p:sp>
        <p:sp>
          <p:nvSpPr>
            <p:cNvPr id="18" name="AutoShape 9">
              <a:extLst>
                <a:ext uri="{FF2B5EF4-FFF2-40B4-BE49-F238E27FC236}">
                  <a16:creationId xmlns:a16="http://schemas.microsoft.com/office/drawing/2014/main" id="{6E41B553-E5AE-4EB0-A8A8-D930C1E0444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824725" y="967134"/>
              <a:ext cx="1540866" cy="1117671"/>
            </a:xfrm>
            <a:custGeom>
              <a:avLst/>
              <a:gdLst>
                <a:gd name="G0" fmla="+- 3806 0 0"/>
                <a:gd name="G1" fmla="+- 21600 0 3806"/>
                <a:gd name="G2" fmla="*/ 3806 1 2"/>
                <a:gd name="G3" fmla="+- 21600 0 G2"/>
                <a:gd name="G4" fmla="+/ 3806 21600 2"/>
                <a:gd name="G5" fmla="+/ G1 0 2"/>
                <a:gd name="G6" fmla="*/ 21600 21600 3806"/>
                <a:gd name="G7" fmla="*/ G6 1 2"/>
                <a:gd name="G8" fmla="+- 21600 0 G7"/>
                <a:gd name="G9" fmla="*/ 21600 1 2"/>
                <a:gd name="G10" fmla="+- 3806 0 G9"/>
                <a:gd name="G11" fmla="?: G10 G8 0"/>
                <a:gd name="G12" fmla="?: G10 G7 21600"/>
                <a:gd name="T0" fmla="*/ 19697 w 21600"/>
                <a:gd name="T1" fmla="*/ 10800 h 21600"/>
                <a:gd name="T2" fmla="*/ 10800 w 21600"/>
                <a:gd name="T3" fmla="*/ 21600 h 21600"/>
                <a:gd name="T4" fmla="*/ 1903 w 21600"/>
                <a:gd name="T5" fmla="*/ 10800 h 21600"/>
                <a:gd name="T6" fmla="*/ 10800 w 21600"/>
                <a:gd name="T7" fmla="*/ 0 h 21600"/>
                <a:gd name="T8" fmla="*/ 3703 w 21600"/>
                <a:gd name="T9" fmla="*/ 3703 h 21600"/>
                <a:gd name="T10" fmla="*/ 17897 w 21600"/>
                <a:gd name="T11" fmla="*/ 1789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806" y="21600"/>
                  </a:lnTo>
                  <a:lnTo>
                    <a:pt x="1779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C000"/>
            </a:solidFill>
            <a:ln w="28575">
              <a:solidFill>
                <a:schemeClr val="bg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MS Gothic" panose="020B0609070205080204" pitchFamily="49" charset="-128"/>
                <a:cs typeface="Arial" charset="0"/>
              </a:endParaRPr>
            </a:p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MS Gothic" panose="020B0609070205080204" pitchFamily="49" charset="-128"/>
                  <a:cs typeface="Arial" charset="0"/>
                </a:rPr>
                <a:t>Pesquisa </a:t>
              </a:r>
            </a:p>
            <a:p>
              <a:pPr marL="0" marR="0" lvl="0" indent="0" algn="ctr" defTabSz="3369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MS Gothic" panose="020B0609070205080204" pitchFamily="49" charset="-128"/>
                <a:cs typeface="Arial" charset="0"/>
              </a:endParaRPr>
            </a:p>
          </p:txBody>
        </p:sp>
      </p:grpSp>
      <p:sp>
        <p:nvSpPr>
          <p:cNvPr id="19" name="CaixaDeTexto 1">
            <a:extLst>
              <a:ext uri="{FF2B5EF4-FFF2-40B4-BE49-F238E27FC236}">
                <a16:creationId xmlns:a16="http://schemas.microsoft.com/office/drawing/2014/main" id="{5C78D3F0-E901-400E-871F-A8C1D411B470}"/>
              </a:ext>
            </a:extLst>
          </p:cNvPr>
          <p:cNvSpPr txBox="1"/>
          <p:nvPr/>
        </p:nvSpPr>
        <p:spPr>
          <a:xfrm>
            <a:off x="3082219" y="3886276"/>
            <a:ext cx="6814340" cy="3365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 áreas e 323 linhas de pesquisa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665 projetos de pesquisa e desenvolvimento tecnológico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3 tecnologias protegidas, 275 patentes vigentes no exterior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914 publicações científicas ano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boratórios de referência,  ambulatórios e hospitai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ços e Tecnologias transferidas para o SU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 dirty="0">
                <a:solidFill>
                  <a:srgbClr val="808080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 Programas de Pós-graduação </a:t>
            </a:r>
            <a:r>
              <a:rPr lang="pt-BR" b="1" i="1" dirty="0">
                <a:solidFill>
                  <a:srgbClr val="808080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cto sensu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654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464A4D23-61D9-4D2D-AAFB-E081E612F7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25119" cy="787357"/>
          </a:xfrm>
        </p:spPr>
        <p:txBody>
          <a:bodyPr/>
          <a:lstStyle/>
          <a:p>
            <a:endParaRPr lang="pt-BR" sz="4000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032651C-6A3D-45C9-A003-4BA3C74DB1B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406" r="1505" b="32625"/>
          <a:stretch/>
        </p:blipFill>
        <p:spPr>
          <a:xfrm>
            <a:off x="0" y="552931"/>
            <a:ext cx="9125120" cy="2968740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29EE89C6-D7D2-42AB-863D-655A7F357D64}"/>
              </a:ext>
            </a:extLst>
          </p:cNvPr>
          <p:cNvSpPr/>
          <p:nvPr/>
        </p:nvSpPr>
        <p:spPr>
          <a:xfrm>
            <a:off x="6208937" y="2788464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observatorio.fiocruz.br/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B8F0E52F-950A-42A0-875E-BEF1FF1C4B2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4188" y="3476934"/>
            <a:ext cx="9537812" cy="3071935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2BABB92F-E966-421D-A85A-6B0F305AD331}"/>
              </a:ext>
            </a:extLst>
          </p:cNvPr>
          <p:cNvSpPr/>
          <p:nvPr/>
        </p:nvSpPr>
        <p:spPr>
          <a:xfrm>
            <a:off x="3043602" y="6241092"/>
            <a:ext cx="43856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400" dirty="0"/>
              <a:t>https://www.arca.fiocruz.br/terms/visualizacaodedados.jsp</a:t>
            </a:r>
          </a:p>
        </p:txBody>
      </p:sp>
    </p:spTree>
    <p:extLst>
      <p:ext uri="{BB962C8B-B14F-4D97-AF65-F5344CB8AC3E}">
        <p14:creationId xmlns:p14="http://schemas.microsoft.com/office/powerpoint/2010/main" val="1412441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464A4D23-61D9-4D2D-AAFB-E081E612F7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25119" cy="787357"/>
          </a:xfrm>
        </p:spPr>
        <p:txBody>
          <a:bodyPr/>
          <a:lstStyle/>
          <a:p>
            <a:endParaRPr lang="pt-BR" sz="4000" dirty="0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29EE89C6-D7D2-42AB-863D-655A7F357D64}"/>
              </a:ext>
            </a:extLst>
          </p:cNvPr>
          <p:cNvSpPr/>
          <p:nvPr/>
        </p:nvSpPr>
        <p:spPr>
          <a:xfrm>
            <a:off x="6208937" y="2788464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observatorio.fiocruz.br/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58149CD-4162-4046-93E9-5CAF82E1EF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2109" y="682404"/>
            <a:ext cx="9149891" cy="587214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7032651C-6A3D-45C9-A003-4BA3C74DB1B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18002"/>
            <a:ext cx="3455299" cy="836547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837A0050-2AA2-4682-91D4-38C223CD4C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56645"/>
            <a:ext cx="4879497" cy="193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30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298139D8-1722-45DC-B796-6586530F1A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1299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mara\Downloads\SLIDE - Atenção Básic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221057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51906" y="3004287"/>
            <a:ext cx="3360859" cy="649287"/>
          </a:xfrm>
        </p:spPr>
        <p:txBody>
          <a:bodyPr anchor="ctr"/>
          <a:lstStyle/>
          <a:p>
            <a:pPr eaLnBrk="1" hangingPunct="1"/>
            <a:r>
              <a:rPr lang="pt-BR" altLang="pt-BR" sz="2400" b="1" dirty="0">
                <a:latin typeface="Arial" panose="020B0604020202020204" pitchFamily="34" charset="0"/>
              </a:rPr>
              <a:t>Emergência Febre amarel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E2EB4E6-40F3-496B-BF2C-E762CDA6EF5C}"/>
              </a:ext>
            </a:extLst>
          </p:cNvPr>
          <p:cNvSpPr txBox="1"/>
          <p:nvPr/>
        </p:nvSpPr>
        <p:spPr>
          <a:xfrm>
            <a:off x="2331584" y="1327368"/>
            <a:ext cx="454549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Vigilâ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nálise permanente de cenários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Parcerias com secretarias estaduais e municipais de Saúde e órgãos ambienta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923EF2E-622E-4E6D-A07F-F22951C29695}"/>
              </a:ext>
            </a:extLst>
          </p:cNvPr>
          <p:cNvSpPr txBox="1"/>
          <p:nvPr/>
        </p:nvSpPr>
        <p:spPr>
          <a:xfrm>
            <a:off x="1061222" y="3653574"/>
            <a:ext cx="39226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Diagnós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ealização de diagnóstico laboratorial de referência em casos humanos e primatas não human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AA834745-26A4-4DCE-89AF-4BC5A1F1BEFB}"/>
              </a:ext>
            </a:extLst>
          </p:cNvPr>
          <p:cNvSpPr txBox="1"/>
          <p:nvPr/>
        </p:nvSpPr>
        <p:spPr>
          <a:xfrm>
            <a:off x="8514522" y="1639454"/>
            <a:ext cx="322027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Educa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Capacitação para a assistência aos casos em MG e RJ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ealização de seminários para profissionais de saúde em ?? estados brasileiros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15AC30-8A33-4250-906D-ABB94D84288A}"/>
              </a:ext>
            </a:extLst>
          </p:cNvPr>
          <p:cNvSpPr txBox="1"/>
          <p:nvPr/>
        </p:nvSpPr>
        <p:spPr>
          <a:xfrm flipH="1">
            <a:off x="6877079" y="4254240"/>
            <a:ext cx="22536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Produçã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43732F2-45EE-4964-887F-45F74B07795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709" y="4591829"/>
            <a:ext cx="7704165" cy="2031366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BC77B7EA-4B40-41B4-84E9-042238EC19EA}"/>
              </a:ext>
            </a:extLst>
          </p:cNvPr>
          <p:cNvSpPr txBox="1"/>
          <p:nvPr/>
        </p:nvSpPr>
        <p:spPr>
          <a:xfrm>
            <a:off x="6632713" y="865703"/>
            <a:ext cx="26040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Informação e comunicação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225ABF75-218E-49F5-BF3F-BD10CE97BC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813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Foundation Overview_Jan 11 2015.potx [Read-Only]" id="{BA8B15AD-6885-4EDD-9ED3-9367409F8AA7}" vid="{1E242F75-EE65-42A2-A48A-585FAD4C2271}"/>
    </a:ext>
  </a:extLst>
</a:theme>
</file>

<file path=ppt/theme/theme5.xml><?xml version="1.0" encoding="utf-8"?>
<a:theme xmlns:a="http://schemas.openxmlformats.org/drawingml/2006/main" name="5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3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6</Words>
  <Application>Microsoft Office PowerPoint</Application>
  <PresentationFormat>Widescreen</PresentationFormat>
  <Paragraphs>82</Paragraphs>
  <Slides>17</Slides>
  <Notes>13</Notes>
  <HiddenSlides>2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8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36" baseType="lpstr">
      <vt:lpstr>Arial</vt:lpstr>
      <vt:lpstr>Calibri</vt:lpstr>
      <vt:lpstr>Calibri Light</vt:lpstr>
      <vt:lpstr>Helvetica Light</vt:lpstr>
      <vt:lpstr>Helvetica Neue</vt:lpstr>
      <vt:lpstr>Helvetica Neue Light</vt:lpstr>
      <vt:lpstr>Helvetica Neue Medium</vt:lpstr>
      <vt:lpstr>Helvetica Neue Thin</vt:lpstr>
      <vt:lpstr>Times New Roman</vt:lpstr>
      <vt:lpstr>Wingdings</vt:lpstr>
      <vt:lpstr>Tema do Office</vt:lpstr>
      <vt:lpstr>Estrutura padrão</vt:lpstr>
      <vt:lpstr>3_Estrutura padrão</vt:lpstr>
      <vt:lpstr>4_Foundation Master Slides</vt:lpstr>
      <vt:lpstr>5_Estrutura padrão</vt:lpstr>
      <vt:lpstr>2_Tema do Office</vt:lpstr>
      <vt:lpstr>White</vt:lpstr>
      <vt:lpstr>3_Tema do Office</vt:lpstr>
      <vt:lpstr>think-cell Folie</vt:lpstr>
      <vt:lpstr>Pesquisas da Fundação Oswaldo Cruz</vt:lpstr>
      <vt:lpstr>Apresentação do PowerPoint</vt:lpstr>
      <vt:lpstr>Fiocruz Nacional</vt:lpstr>
      <vt:lpstr>O Sistema Fiocruz de Ciência, Tecnologia e Inovação</vt:lpstr>
      <vt:lpstr>Apresentação do PowerPoint</vt:lpstr>
      <vt:lpstr>Apresentação do PowerPoint</vt:lpstr>
      <vt:lpstr>Apresentação do PowerPoint</vt:lpstr>
      <vt:lpstr>Apresentação do PowerPoint</vt:lpstr>
      <vt:lpstr>Emergência Febre amarela</vt:lpstr>
      <vt:lpstr>Inova Fiocruz</vt:lpstr>
      <vt:lpstr>| Wolbachia</vt:lpstr>
      <vt:lpstr>Brasil é referência mundial em Bancos de Leite Humano  Fiocruz coordena a Rede Global de Bancos de Leite Humano</vt:lpstr>
      <vt:lpstr>Início da parceria para pesquisa na Antártica –  com a Marinha do Brasil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aliação estratégica das ações da Fiocruz e integração institucional com as diversas secretarias do Ministério da Saúde e com o SUS</dc:title>
  <dc:creator>Juliano de Carvalho Lima</dc:creator>
  <cp:lastModifiedBy>Ricardo Ferreira</cp:lastModifiedBy>
  <cp:revision>412</cp:revision>
  <cp:lastPrinted>2018-04-12T16:24:25Z</cp:lastPrinted>
  <dcterms:created xsi:type="dcterms:W3CDTF">2017-08-03T17:50:03Z</dcterms:created>
  <dcterms:modified xsi:type="dcterms:W3CDTF">2019-10-23T03:45:24Z</dcterms:modified>
</cp:coreProperties>
</file>